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3"/>
  </p:notesMasterIdLst>
  <p:sldIdLst>
    <p:sldId id="2147472391" r:id="rId2"/>
  </p:sldIdLst>
  <p:sldSz cx="18288000" cy="10287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8D9D5"/>
    <a:srgbClr val="E67E22"/>
    <a:srgbClr val="28B1A7"/>
    <a:srgbClr val="19447A"/>
    <a:srgbClr val="409FA6"/>
    <a:srgbClr val="FFFFFF"/>
    <a:srgbClr val="176B86"/>
    <a:srgbClr val="195480"/>
    <a:srgbClr val="24A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2" autoAdjust="0"/>
    <p:restoredTop sz="96247" autoAdjust="0"/>
  </p:normalViewPr>
  <p:slideViewPr>
    <p:cSldViewPr>
      <p:cViewPr varScale="1">
        <p:scale>
          <a:sx n="74" d="100"/>
          <a:sy n="74" d="100"/>
        </p:scale>
        <p:origin x="6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5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9DF2-70EC-4B96-A053-2561A61F337D}" type="datetimeFigureOut">
              <a:rPr lang="en-US" smtClean="0"/>
              <a:t>10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588163-CFC1-4ACA-9600-FB08ECAA64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7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3291871F-0CB1-875A-9049-68A6FF376A9F}"/>
              </a:ext>
            </a:extLst>
          </p:cNvPr>
          <p:cNvSpPr/>
          <p:nvPr userDrawn="1"/>
        </p:nvSpPr>
        <p:spPr>
          <a:xfrm rot="16200000">
            <a:off x="13724272" y="4965082"/>
            <a:ext cx="8770621" cy="35683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19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16859250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16859250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5A63069-1EAF-AC1C-97F9-C6A4F1AC7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44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F72F67-E422-837C-5299-028113A71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98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B8C256F-1E8E-317C-6DDA-154F8353D9A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E5A91E-2C73-14D1-B898-2EBE3672C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95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14375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9281160" y="1889656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281160" y="5689604"/>
            <a:ext cx="829246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3705F-9234-C263-3A1B-3A252A19B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90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04063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0D87B413-325F-DFE4-4CD4-DB642FFB860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3693140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9366885" y="1889656"/>
            <a:ext cx="3880485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E0C1D-F688-75FA-168B-CF3FAA201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484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1218918" y="1889655"/>
            <a:ext cx="6354707" cy="73255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9CB5D3D-57C5-FAB3-47E0-27E2CF1A920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1889655"/>
            <a:ext cx="10230224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0F2C62-4F31-15FD-84E2-56D51B71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18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hart Placeholder 7">
            <a:extLst>
              <a:ext uri="{FF2B5EF4-FFF2-40B4-BE49-F238E27FC236}">
                <a16:creationId xmlns:a16="http://schemas.microsoft.com/office/drawing/2014/main" id="{A105976E-98CC-1525-77A5-60BC6F8246E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2556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hart Placeholder 7">
            <a:extLst>
              <a:ext uri="{FF2B5EF4-FFF2-40B4-BE49-F238E27FC236}">
                <a16:creationId xmlns:a16="http://schemas.microsoft.com/office/drawing/2014/main" id="{F18304E0-C823-297F-1C17-7F2A2CD282EF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14375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55F0A100-1971-96D3-AD25-96E598F8B47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2136754" y="1889656"/>
            <a:ext cx="5436871" cy="35256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A7FA16-0C02-E692-8526-16F583C3F0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14375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42B77EF-A62E-AAFD-BC1D-629764A00EC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2556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E870889-49DC-DDA8-AC0C-91F97C82139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2136754" y="5689604"/>
            <a:ext cx="5436871" cy="35256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50601D-DC9F-2EFA-8CF3-B8A12ACF3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74A52-9FFC-AC39-C5C6-B5E84AC59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2253" y="317500"/>
            <a:ext cx="9420224" cy="12668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FC55-4D2C-6A55-9DC3-D3F5645AFA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122253" y="9520560"/>
            <a:ext cx="7776000" cy="4489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AABA0-A95A-CC14-B3A9-50073A443C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4638F13-1CD3-7690-D13A-99CF303E4C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315200" cy="10287000"/>
          </a:xfrm>
          <a:pattFill prst="pct5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9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D5D06DE6-9792-C027-9577-AFD1237BD9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8860" y="3866701"/>
            <a:ext cx="8091397" cy="1715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18FCF8D-01B5-E382-DA13-DA3C3EE912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8860" y="6057900"/>
            <a:ext cx="8091397" cy="43860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4600" b="1"/>
            </a:lvl2pPr>
            <a:lvl3pPr marL="914400" indent="0">
              <a:buFontTx/>
              <a:buNone/>
              <a:defRPr sz="4600" b="1"/>
            </a:lvl3pPr>
            <a:lvl4pPr marL="1371600" indent="0">
              <a:buFontTx/>
              <a:buNone/>
              <a:defRPr sz="4600" b="1"/>
            </a:lvl4pPr>
            <a:lvl5pPr marL="1828800" indent="0">
              <a:buFontTx/>
              <a:buNone/>
              <a:defRPr sz="4600" b="1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6B335A7-6109-B26B-B9B4-4A350117C7B4}"/>
              </a:ext>
            </a:extLst>
          </p:cNvPr>
          <p:cNvGrpSpPr/>
          <p:nvPr userDrawn="1"/>
        </p:nvGrpSpPr>
        <p:grpSpPr>
          <a:xfrm>
            <a:off x="1" y="0"/>
            <a:ext cx="701674" cy="10287000"/>
            <a:chOff x="1" y="0"/>
            <a:chExt cx="974394" cy="10287000"/>
          </a:xfrm>
        </p:grpSpPr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ED1CD4F-7C54-9762-2DC4-C4F5F3FA91CE}"/>
                </a:ext>
              </a:extLst>
            </p:cNvPr>
            <p:cNvSpPr/>
            <p:nvPr userDrawn="1"/>
          </p:nvSpPr>
          <p:spPr>
            <a:xfrm>
              <a:off x="649597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48D07B7-AD58-DF23-DDAD-324509531AD6}"/>
                </a:ext>
              </a:extLst>
            </p:cNvPr>
            <p:cNvSpPr/>
            <p:nvPr/>
          </p:nvSpPr>
          <p:spPr>
            <a:xfrm>
              <a:off x="1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1A1AEC32-8D76-B228-34DA-4B63537F4B0E}"/>
                </a:ext>
              </a:extLst>
            </p:cNvPr>
            <p:cNvSpPr/>
            <p:nvPr userDrawn="1"/>
          </p:nvSpPr>
          <p:spPr>
            <a:xfrm>
              <a:off x="324799" y="0"/>
              <a:ext cx="324798" cy="10287000"/>
            </a:xfrm>
            <a:custGeom>
              <a:avLst/>
              <a:gdLst/>
              <a:ahLst/>
              <a:cxnLst/>
              <a:rect l="l" t="t" r="r" b="b"/>
              <a:pathLst>
                <a:path w="1384190" h="3472226">
                  <a:moveTo>
                    <a:pt x="0" y="0"/>
                  </a:moveTo>
                  <a:lnTo>
                    <a:pt x="1384190" y="0"/>
                  </a:lnTo>
                  <a:lnTo>
                    <a:pt x="1384190" y="3472226"/>
                  </a:lnTo>
                  <a:lnTo>
                    <a:pt x="0" y="34722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FB0A42F-E6A3-CB96-9852-85C86F511AD6}"/>
              </a:ext>
            </a:extLst>
          </p:cNvPr>
          <p:cNvGrpSpPr/>
          <p:nvPr userDrawn="1"/>
        </p:nvGrpSpPr>
        <p:grpSpPr>
          <a:xfrm>
            <a:off x="11692218" y="0"/>
            <a:ext cx="6595782" cy="10287000"/>
            <a:chOff x="7794812" y="0"/>
            <a:chExt cx="4397188" cy="685800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04244303-0891-69A8-2D9D-161F4AE9C4AF}"/>
                </a:ext>
              </a:extLst>
            </p:cNvPr>
            <p:cNvSpPr/>
            <p:nvPr/>
          </p:nvSpPr>
          <p:spPr>
            <a:xfrm flipH="1">
              <a:off x="7794812" y="1371600"/>
              <a:ext cx="4397188" cy="548640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AA11CFF-61B1-248D-7099-2F8686DECDAB}"/>
                </a:ext>
              </a:extLst>
            </p:cNvPr>
            <p:cNvSpPr/>
            <p:nvPr/>
          </p:nvSpPr>
          <p:spPr>
            <a:xfrm flipH="1">
              <a:off x="11261904" y="1371600"/>
              <a:ext cx="930096" cy="2407024"/>
            </a:xfrm>
            <a:custGeom>
              <a:avLst/>
              <a:gdLst>
                <a:gd name="connsiteX0" fmla="*/ 0 w 930096"/>
                <a:gd name="connsiteY0" fmla="*/ 0 h 2407024"/>
                <a:gd name="connsiteX1" fmla="*/ 0 w 930096"/>
                <a:gd name="connsiteY1" fmla="*/ 2407024 h 2407024"/>
                <a:gd name="connsiteX2" fmla="*/ 930096 w 930096"/>
                <a:gd name="connsiteY2" fmla="*/ 1160488 h 240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0096" h="2407024">
                  <a:moveTo>
                    <a:pt x="0" y="0"/>
                  </a:moveTo>
                  <a:lnTo>
                    <a:pt x="0" y="2407024"/>
                  </a:lnTo>
                  <a:lnTo>
                    <a:pt x="930096" y="116048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06BB107-8387-8780-6BFC-A3410E9BB552}"/>
                </a:ext>
              </a:extLst>
            </p:cNvPr>
            <p:cNvSpPr/>
            <p:nvPr/>
          </p:nvSpPr>
          <p:spPr>
            <a:xfrm rot="10800000">
              <a:off x="9838765" y="0"/>
              <a:ext cx="2353235" cy="3778624"/>
            </a:xfrm>
            <a:prstGeom prst="triangle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333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375" y="1889656"/>
            <a:ext cx="1685925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2D0E30-8C97-0C62-9094-8D3CF3865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0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/3 Chart and 1/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7654" y="1889656"/>
            <a:ext cx="5375970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11026079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03149-442B-8EAA-BA7D-E9F6CCBA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68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/2 Chart and 1/2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5" y="317500"/>
            <a:ext cx="16859250" cy="126682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02299-2EDA-F216-AA02-DD369FDBBF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0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8B54F4-3212-393D-A934-571F2F7EC9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4375" y="1889656"/>
            <a:ext cx="8201025" cy="7325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1410E-3F60-2499-76A8-F25BD0C1A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72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A7D6DD-B72F-C610-7786-CA13806E4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6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9D74F7B4-56BE-27DF-FDAA-A1BCDA9A8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30550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0C3A3381-05D7-EDB1-879C-6EB643DC2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479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3D2462CD-6AA5-05E5-182A-40899E86BA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26408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BA0F11DD-391D-B2C8-92A6-95898DED8A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024336" y="2843450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A5B87F88-1840-FD6F-7724-6FBDEB1A5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630550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A7D84A63-B331-8622-DDC5-4D5301BF64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8479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77DEBFB9-8C26-FDCE-39F7-E63395BC7E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226408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44BA52C7-035F-7148-BCE9-2371B4EBE3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024336" y="6665325"/>
            <a:ext cx="1544312" cy="1544312"/>
          </a:xfrm>
          <a:prstGeom prst="ellipse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14FA3A6-A823-22B9-EE66-97CF5C1DE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2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464D427-2C6E-5D04-E3B7-B54B4CFF37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374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1A55B09E-E458-56A4-BEBD-E3518AA50A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3486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D9712A65-1E55-1AAC-1F49-8686E5090E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372598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138BBE78-D23B-C548-90A3-628D17816A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01711" y="1889656"/>
            <a:ext cx="3871912" cy="2675550"/>
          </a:xfr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935983-7755-5154-519D-9FE5EBA80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35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*3 Gri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2E3D1-9794-DB83-C978-069C6BB72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87E3-F69C-88FE-5D2A-D513631BF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BE1B0A-3EFA-CDCD-ACC1-0E1BD80F6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75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077C04-EE84-814F-7B2F-0CC65C0D53C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14375" y="1889656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93B461-3AC5-965C-0E00-0FEB9D48C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2556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D520F5-6EC0-AC8D-1668-71F10795B5C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25564" y="189462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8B1C77-9500-179A-EE6E-18BD895ED0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2136754" y="2562752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B8B7790-3428-1A55-8625-94F1FC2419D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2136754" y="189462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A4714B2-4ED7-3602-5E04-E68455AC597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01675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916D0D2-1072-1B37-B2A3-E84B806E1C9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14375" y="5689604"/>
            <a:ext cx="5436871" cy="521565"/>
          </a:xfrm>
          <a:solidFill>
            <a:schemeClr val="accent1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F92FDE-4A52-5B65-C311-BCA14C41BB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42556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A15F03-CC85-9E5B-73B8-2E73B47E40C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425564" y="5689604"/>
            <a:ext cx="5436871" cy="521565"/>
          </a:xfrm>
          <a:solidFill>
            <a:schemeClr val="accent2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9A53EF9-EA9A-60BD-3F5E-3045DE69141C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12136754" y="6362700"/>
            <a:ext cx="5436871" cy="2852532"/>
          </a:xfrm>
        </p:spPr>
        <p:txBody>
          <a:bodyPr lIns="91440" tIns="0" rIns="91440" bIns="0">
            <a:norm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3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9413566-88CF-1923-92B0-48B2B74519A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12136754" y="5689604"/>
            <a:ext cx="5436871" cy="521565"/>
          </a:xfrm>
          <a:solidFill>
            <a:schemeClr val="accent3"/>
          </a:solidFill>
        </p:spPr>
        <p:txBody>
          <a:bodyPr lIns="91440" tIns="0" rIns="91440" bIns="0" anchor="ctr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685800" indent="0">
              <a:buFontTx/>
              <a:buNone/>
              <a:defRPr sz="2700">
                <a:solidFill>
                  <a:schemeClr val="tx1"/>
                </a:solidFill>
              </a:defRPr>
            </a:lvl2pPr>
            <a:lvl3pPr marL="1371600" indent="0">
              <a:buFontTx/>
              <a:buNone/>
              <a:defRPr sz="2400">
                <a:solidFill>
                  <a:schemeClr val="tx1"/>
                </a:solidFill>
              </a:defRPr>
            </a:lvl3pPr>
            <a:lvl4pPr marL="2057400" indent="0">
              <a:buFontTx/>
              <a:buNone/>
              <a:defRPr sz="2100">
                <a:solidFill>
                  <a:schemeClr val="tx1"/>
                </a:solidFill>
              </a:defRPr>
            </a:lvl4pPr>
            <a:lvl5pPr marL="2743200" indent="0">
              <a:buFontTx/>
              <a:buNone/>
              <a:defRPr sz="2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Heading</a:t>
            </a:r>
            <a:endParaRPr lang="en-IN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5ACDC91-19E7-0788-BDCD-F383247D7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00" y="9520560"/>
            <a:ext cx="8619000" cy="4489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8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66BD8F-401F-2DBF-0BEE-85CAEC4F1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558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66BD8F-401F-2DBF-0BEE-85CAEC4F1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4C60E1-108D-7890-2148-7CDB8BD50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75" y="317500"/>
            <a:ext cx="16859250" cy="12668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27DE4-6E8F-79F4-2C2B-8BC05FCBF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375" y="1889656"/>
            <a:ext cx="16859250" cy="7325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8E5665-37C2-54D6-D1C6-35E05DF83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73525" y="9501500"/>
            <a:ext cx="800100" cy="46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E2D680B1-7F17-42D2-83E2-2C9AC13983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59F2CA7-B6BF-8125-5E2E-6835373F22E4}"/>
              </a:ext>
            </a:extLst>
          </p:cNvPr>
          <p:cNvSpPr/>
          <p:nvPr userDrawn="1"/>
        </p:nvSpPr>
        <p:spPr>
          <a:xfrm rot="5400000" flipH="1">
            <a:off x="-492444" y="809943"/>
            <a:ext cx="1289687" cy="3048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D220426-4054-0550-CCFE-D2AFE3352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05200" y="9520560"/>
            <a:ext cx="8466600" cy="4489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C737F1-E18A-A2F6-7406-C694B5585016}"/>
              </a:ext>
            </a:extLst>
          </p:cNvPr>
          <p:cNvSpPr/>
          <p:nvPr userDrawn="1"/>
        </p:nvSpPr>
        <p:spPr>
          <a:xfrm>
            <a:off x="742950" y="9501500"/>
            <a:ext cx="2381250" cy="551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o Placeholder</a:t>
            </a:r>
          </a:p>
        </p:txBody>
      </p:sp>
    </p:spTree>
    <p:extLst>
      <p:ext uri="{BB962C8B-B14F-4D97-AF65-F5344CB8AC3E}">
        <p14:creationId xmlns:p14="http://schemas.microsoft.com/office/powerpoint/2010/main" val="287327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5" r:id="rId2"/>
    <p:sldLayoutId id="2147483662" r:id="rId3"/>
    <p:sldLayoutId id="2147483695" r:id="rId4"/>
    <p:sldLayoutId id="2147483696" r:id="rId5"/>
    <p:sldLayoutId id="2147483676" r:id="rId6"/>
    <p:sldLayoutId id="2147483697" r:id="rId7"/>
    <p:sldLayoutId id="2147483698" r:id="rId8"/>
    <p:sldLayoutId id="2147483678" r:id="rId9"/>
    <p:sldLayoutId id="2147483679" r:id="rId10"/>
    <p:sldLayoutId id="2147483681" r:id="rId11"/>
    <p:sldLayoutId id="2147483682" r:id="rId12"/>
    <p:sldLayoutId id="2147483683" r:id="rId13"/>
    <p:sldLayoutId id="2147483684" r:id="rId14"/>
    <p:sldLayoutId id="2147483680" r:id="rId15"/>
    <p:sldLayoutId id="2147483688" r:id="rId16"/>
    <p:sldLayoutId id="2147483692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</p:titleStyle>
    <p:bodyStyle>
      <a:lvl1pPr marL="36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1pPr>
      <a:lvl2pPr marL="72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2pPr>
      <a:lvl3pPr marL="108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3pPr>
      <a:lvl4pPr marL="144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4pPr>
      <a:lvl5pPr marL="1800000" indent="-36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00000"/>
        <a:buFont typeface="Symbol" panose="05050102010706020507" pitchFamily="18" charset="2"/>
        <a:buChar char=""/>
        <a:defRPr sz="2000" kern="120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2" userDrawn="1">
          <p15:clr>
            <a:srgbClr val="F26B43"/>
          </p15:clr>
        </p15:guide>
        <p15:guide id="2" pos="442" userDrawn="1">
          <p15:clr>
            <a:srgbClr val="F26B43"/>
          </p15:clr>
        </p15:guide>
        <p15:guide id="3" pos="11078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1190" userDrawn="1">
          <p15:clr>
            <a:srgbClr val="F26B43"/>
          </p15:clr>
        </p15:guide>
        <p15:guide id="6" orient="horz" pos="6278" userDrawn="1">
          <p15:clr>
            <a:srgbClr val="F26B43"/>
          </p15:clr>
        </p15:guide>
        <p15:guide id="7" orient="horz" pos="58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5B78D1-E2B7-DD76-FBC3-7607ADCEF1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91CDE588-9268-7CF8-0E5B-0C72C1275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llar slid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298038B-CA77-D8D8-4F90-7259A317ADC3}"/>
              </a:ext>
            </a:extLst>
          </p:cNvPr>
          <p:cNvSpPr/>
          <p:nvPr/>
        </p:nvSpPr>
        <p:spPr>
          <a:xfrm>
            <a:off x="714374" y="2171700"/>
            <a:ext cx="3871912" cy="12668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2400" b="1" dirty="0">
                <a:solidFill>
                  <a:schemeClr val="bg1"/>
                </a:solidFill>
              </a:rPr>
              <a:t>Nam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0B9ECA-A5AF-3EDE-5ADA-DCCDCDD3D78E}"/>
              </a:ext>
            </a:extLst>
          </p:cNvPr>
          <p:cNvSpPr/>
          <p:nvPr/>
        </p:nvSpPr>
        <p:spPr>
          <a:xfrm>
            <a:off x="714374" y="3566132"/>
            <a:ext cx="3871912" cy="67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2400" b="1" dirty="0">
                <a:solidFill>
                  <a:schemeClr val="tx1"/>
                </a:solidFill>
              </a:rPr>
              <a:t>Heading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FF3064-8946-34BB-D8BB-8E87F12C0FF4}"/>
              </a:ext>
            </a:extLst>
          </p:cNvPr>
          <p:cNvSpPr/>
          <p:nvPr/>
        </p:nvSpPr>
        <p:spPr>
          <a:xfrm>
            <a:off x="9372598" y="2171700"/>
            <a:ext cx="3871912" cy="12668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2400" b="1" dirty="0">
                <a:solidFill>
                  <a:schemeClr val="bg1"/>
                </a:solidFill>
              </a:rPr>
              <a:t>Nam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77FD0C-CFAC-5CC4-6254-7D9FD29F71F2}"/>
              </a:ext>
            </a:extLst>
          </p:cNvPr>
          <p:cNvSpPr/>
          <p:nvPr/>
        </p:nvSpPr>
        <p:spPr>
          <a:xfrm>
            <a:off x="5043486" y="2171700"/>
            <a:ext cx="3871912" cy="12668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2400" b="1" dirty="0">
                <a:solidFill>
                  <a:schemeClr val="bg1"/>
                </a:solidFill>
              </a:rPr>
              <a:t>Nam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630DEE7-0F05-8FA6-669D-903538FD4039}"/>
              </a:ext>
            </a:extLst>
          </p:cNvPr>
          <p:cNvSpPr/>
          <p:nvPr/>
        </p:nvSpPr>
        <p:spPr>
          <a:xfrm>
            <a:off x="13701711" y="2171700"/>
            <a:ext cx="3871912" cy="12668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2400" b="1" dirty="0">
                <a:solidFill>
                  <a:schemeClr val="bg1"/>
                </a:solidFill>
              </a:rPr>
              <a:t>Nam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6579E36-A2CC-76B4-61B3-A74C63FEB2D4}"/>
              </a:ext>
            </a:extLst>
          </p:cNvPr>
          <p:cNvSpPr/>
          <p:nvPr/>
        </p:nvSpPr>
        <p:spPr>
          <a:xfrm>
            <a:off x="714374" y="4349144"/>
            <a:ext cx="3871912" cy="40164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sz="20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sz="20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 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sz="20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sz="20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DF80774-24C4-1C7B-EDC2-C2AFBE365631}"/>
              </a:ext>
            </a:extLst>
          </p:cNvPr>
          <p:cNvSpPr/>
          <p:nvPr/>
        </p:nvSpPr>
        <p:spPr>
          <a:xfrm>
            <a:off x="13701711" y="3566132"/>
            <a:ext cx="3871912" cy="67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2400" b="1" dirty="0">
                <a:solidFill>
                  <a:schemeClr val="tx1"/>
                </a:solidFill>
              </a:rPr>
              <a:t>Heading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3F72394-1E81-903E-D3C2-2A00A1477F64}"/>
              </a:ext>
            </a:extLst>
          </p:cNvPr>
          <p:cNvSpPr/>
          <p:nvPr/>
        </p:nvSpPr>
        <p:spPr>
          <a:xfrm>
            <a:off x="13701711" y="4349144"/>
            <a:ext cx="3871912" cy="40164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sz="20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sz="20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 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sz="20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sz="20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C93E69-4BE5-C15F-3A24-8A3A0C2CF6B5}"/>
              </a:ext>
            </a:extLst>
          </p:cNvPr>
          <p:cNvSpPr/>
          <p:nvPr/>
        </p:nvSpPr>
        <p:spPr>
          <a:xfrm>
            <a:off x="9372598" y="3566132"/>
            <a:ext cx="3871912" cy="67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2400" b="1" dirty="0">
                <a:solidFill>
                  <a:schemeClr val="tx1"/>
                </a:solidFill>
              </a:rPr>
              <a:t>Heading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33C46BD-DDBC-ADE0-336C-EFDBEA205E21}"/>
              </a:ext>
            </a:extLst>
          </p:cNvPr>
          <p:cNvSpPr/>
          <p:nvPr/>
        </p:nvSpPr>
        <p:spPr>
          <a:xfrm>
            <a:off x="9372598" y="4349144"/>
            <a:ext cx="3871912" cy="40164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sz="20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sz="20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 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sz="20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sz="20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58AE1CF-8654-9582-5396-3F22317093CA}"/>
              </a:ext>
            </a:extLst>
          </p:cNvPr>
          <p:cNvSpPr/>
          <p:nvPr/>
        </p:nvSpPr>
        <p:spPr>
          <a:xfrm>
            <a:off x="5043486" y="3566132"/>
            <a:ext cx="3871912" cy="67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2400" b="1" dirty="0">
                <a:solidFill>
                  <a:schemeClr val="tx1"/>
                </a:solidFill>
              </a:rPr>
              <a:t>Heading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9CF1C7C-303A-DE5E-ADA1-FCD11727AC86}"/>
              </a:ext>
            </a:extLst>
          </p:cNvPr>
          <p:cNvSpPr/>
          <p:nvPr/>
        </p:nvSpPr>
        <p:spPr>
          <a:xfrm>
            <a:off x="5043486" y="4349144"/>
            <a:ext cx="3871912" cy="40164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sz="20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sz="20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 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sz="20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</a:t>
            </a:r>
          </a:p>
          <a:p>
            <a:pPr marL="360000" indent="-36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</a:pPr>
            <a:r>
              <a:rPr lang="en-US" altLang="ko-KR" sz="20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rem Ipsum is simply dummy text of the printing and typesetting industry.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5E9927-B5A9-B676-BE5B-EDBA1DF669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D680B1-7F17-42D2-83E2-2C9AC13983B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01532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AnalystAcademy">
      <a:dk1>
        <a:sysClr val="windowText" lastClr="000000"/>
      </a:dk1>
      <a:lt1>
        <a:sysClr val="window" lastClr="FFFFFF"/>
      </a:lt1>
      <a:dk2>
        <a:srgbClr val="121418"/>
      </a:dk2>
      <a:lt2>
        <a:srgbClr val="FFFFFF"/>
      </a:lt2>
      <a:accent1>
        <a:srgbClr val="04162B"/>
      </a:accent1>
      <a:accent2>
        <a:srgbClr val="359CD5"/>
      </a:accent2>
      <a:accent3>
        <a:srgbClr val="DCDCDC"/>
      </a:accent3>
      <a:accent4>
        <a:srgbClr val="5C946E"/>
      </a:accent4>
      <a:accent5>
        <a:srgbClr val="F4B400"/>
      </a:accent5>
      <a:accent6>
        <a:srgbClr val="E67E22"/>
      </a:accent6>
      <a:hlink>
        <a:srgbClr val="002060"/>
      </a:hlink>
      <a:folHlink>
        <a:srgbClr val="0070C0"/>
      </a:folHlink>
    </a:clrScheme>
    <a:fontScheme name="Analyst Academ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90</TotalTime>
  <Words>219</Words>
  <Application>Microsoft Office PowerPoint</Application>
  <PresentationFormat>Custom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alibri</vt:lpstr>
      <vt:lpstr>Aptos</vt:lpstr>
      <vt:lpstr>Symbol</vt:lpstr>
      <vt:lpstr>Arial</vt:lpstr>
      <vt:lpstr>Custom Design</vt:lpstr>
      <vt:lpstr>think-cell Slide</vt:lpstr>
      <vt:lpstr>Pillar sli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t Academy Template</dc:title>
  <dc:subject/>
  <dc:creator>Analyst Academy LLC</dc:creator>
  <cp:keywords/>
  <dc:description/>
  <cp:lastModifiedBy>Diam Cabatay</cp:lastModifiedBy>
  <cp:revision>277</cp:revision>
  <dcterms:created xsi:type="dcterms:W3CDTF">2006-08-16T00:00:00Z</dcterms:created>
  <dcterms:modified xsi:type="dcterms:W3CDTF">2025-10-06T08:53:44Z</dcterms:modified>
  <cp:category/>
  <dc:identifier>DAGkDf5R9EM</dc:identifier>
</cp:coreProperties>
</file>